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</p:sldMasterIdLst>
  <p:notesMasterIdLst>
    <p:notesMasterId r:id="rId8"/>
  </p:notesMasterIdLst>
  <p:sldIdLst>
    <p:sldId id="256" r:id="rId2"/>
    <p:sldId id="274" r:id="rId3"/>
    <p:sldId id="275" r:id="rId4"/>
    <p:sldId id="271" r:id="rId5"/>
    <p:sldId id="272" r:id="rId6"/>
    <p:sldId id="273" r:id="rId7"/>
  </p:sldIdLst>
  <p:sldSz cx="12192000" cy="6858000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9CECFDB-BBD4-46F5-AC3C-3CC5AD65FFA2}">
  <a:tblStyle styleId="{59CECFDB-BBD4-46F5-AC3C-3CC5AD65FFA2}" styleName="Table_0">
    <a:wholeTbl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4" autoAdjust="0"/>
    <p:restoredTop sz="94631"/>
  </p:normalViewPr>
  <p:slideViewPr>
    <p:cSldViewPr snapToGrid="0" snapToObjects="1">
      <p:cViewPr varScale="1">
        <p:scale>
          <a:sx n="77" d="100"/>
          <a:sy n="77" d="100"/>
        </p:scale>
        <p:origin x="49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27283567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94" name="Shape 9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48333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14271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/>
          <p:nvPr/>
        </p:nvSpPr>
        <p:spPr>
          <a:xfrm>
            <a:off x="446533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ctrTitle"/>
          </p:nvPr>
        </p:nvSpPr>
        <p:spPr>
          <a:xfrm>
            <a:off x="581191" y="1020430"/>
            <a:ext cx="10993549" cy="147501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abin"/>
              <a:buNone/>
              <a:defRPr sz="3600" b="0" i="0" u="none" strike="noStrike" cap="none">
                <a:solidFill>
                  <a:schemeClr val="accen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subTitle" idx="1"/>
          </p:nvPr>
        </p:nvSpPr>
        <p:spPr>
          <a:xfrm>
            <a:off x="581193" y="2495444"/>
            <a:ext cx="10993545" cy="5903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ctr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ctr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ctr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ctr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ctr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ctr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ctr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ctr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1644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 b="0" i="0" u="none" strike="noStrike" cap="none">
              <a:solidFill>
                <a:srgbClr val="9F276A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le and Vertical 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/>
          <p:nvPr/>
        </p:nvSpPr>
        <p:spPr>
          <a:xfrm>
            <a:off x="440285" y="614406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title"/>
          </p:nvPr>
        </p:nvSpPr>
        <p:spPr>
          <a:xfrm>
            <a:off x="581191" y="702156"/>
            <a:ext cx="11029616" cy="101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body" idx="1"/>
          </p:nvPr>
        </p:nvSpPr>
        <p:spPr>
          <a:xfrm rot="5400000">
            <a:off x="4334602" y="-1417408"/>
            <a:ext cx="3522794" cy="1102961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82" name="Shape 82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83" name="Shape 83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84" name="Shape 84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Shape 86"/>
          <p:cNvSpPr/>
          <p:nvPr/>
        </p:nvSpPr>
        <p:spPr>
          <a:xfrm>
            <a:off x="8839200" y="599725"/>
            <a:ext cx="2906817" cy="58169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title"/>
          </p:nvPr>
        </p:nvSpPr>
        <p:spPr>
          <a:xfrm rot="5400000">
            <a:off x="7249746" y="2265180"/>
            <a:ext cx="5183073" cy="20041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8" name="Shape 88"/>
          <p:cNvSpPr txBox="1">
            <a:spLocks noGrp="1"/>
          </p:cNvSpPr>
          <p:nvPr>
            <p:ph type="body" idx="1"/>
          </p:nvPr>
        </p:nvSpPr>
        <p:spPr>
          <a:xfrm rot="5400000">
            <a:off x="2131526" y="-680876"/>
            <a:ext cx="5183073" cy="789627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89" name="Shape 89"/>
          <p:cNvSpPr txBox="1">
            <a:spLocks noGrp="1"/>
          </p:cNvSpPr>
          <p:nvPr>
            <p:ph type="dt" idx="10"/>
          </p:nvPr>
        </p:nvSpPr>
        <p:spPr>
          <a:xfrm>
            <a:off x="8993672" y="5956137"/>
            <a:ext cx="1328141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90" name="Shape 90"/>
          <p:cNvSpPr txBox="1">
            <a:spLocks noGrp="1"/>
          </p:cNvSpPr>
          <p:nvPr>
            <p:ph type="ftr" idx="11"/>
          </p:nvPr>
        </p:nvSpPr>
        <p:spPr>
          <a:xfrm>
            <a:off x="774922" y="5951810"/>
            <a:ext cx="789627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91" name="Shape 91"/>
          <p:cNvSpPr txBox="1">
            <a:spLocks noGrp="1"/>
          </p:cNvSpPr>
          <p:nvPr>
            <p:ph type="sldNum" idx="12"/>
          </p:nvPr>
        </p:nvSpPr>
        <p:spPr>
          <a:xfrm>
            <a:off x="10446614" y="5956137"/>
            <a:ext cx="116419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rgbClr val="9F276A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846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hape 22"/>
          <p:cNvSpPr/>
          <p:nvPr/>
        </p:nvSpPr>
        <p:spPr>
          <a:xfrm>
            <a:off x="440285" y="614406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581191" y="702156"/>
            <a:ext cx="11029616" cy="101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body" idx="1"/>
          </p:nvPr>
        </p:nvSpPr>
        <p:spPr>
          <a:xfrm>
            <a:off x="581191" y="2180496"/>
            <a:ext cx="11029614" cy="367830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8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 b="0" i="0" u="none" strike="noStrike" cap="none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/>
          <p:nvPr/>
        </p:nvSpPr>
        <p:spPr>
          <a:xfrm>
            <a:off x="447816" y="5141973"/>
            <a:ext cx="11290859" cy="12588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581193" y="3043909"/>
            <a:ext cx="11029614" cy="149750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abin"/>
              <a:buNone/>
              <a:defRPr sz="3600" b="0" i="0" u="none" strike="noStrike" cap="none">
                <a:solidFill>
                  <a:schemeClr val="accen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581191" y="4541417"/>
            <a:ext cx="11029614" cy="6005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8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8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rgbClr val="9F276A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45981" y="606554"/>
            <a:ext cx="11300035" cy="12588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581193" y="729658"/>
            <a:ext cx="11029616" cy="98833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581193" y="2228002"/>
            <a:ext cx="5422389" cy="36330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6188417" y="2228002"/>
            <a:ext cx="5422392" cy="36330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/>
          <p:nvPr/>
        </p:nvSpPr>
        <p:spPr>
          <a:xfrm>
            <a:off x="445981" y="606554"/>
            <a:ext cx="11300035" cy="12588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581193" y="729658"/>
            <a:ext cx="11029616" cy="98833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887219" y="2250891"/>
            <a:ext cx="5087075" cy="53600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22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40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20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8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body" idx="2"/>
          </p:nvPr>
        </p:nvSpPr>
        <p:spPr>
          <a:xfrm>
            <a:off x="581193" y="2926051"/>
            <a:ext cx="5393100" cy="2934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3"/>
          </p:nvPr>
        </p:nvSpPr>
        <p:spPr>
          <a:xfrm>
            <a:off x="6523735" y="2250891"/>
            <a:ext cx="5087072" cy="55337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22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40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20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8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1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body" idx="4"/>
          </p:nvPr>
        </p:nvSpPr>
        <p:spPr>
          <a:xfrm>
            <a:off x="6217708" y="2926051"/>
            <a:ext cx="5393100" cy="2934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/>
          <p:nvPr/>
        </p:nvSpPr>
        <p:spPr>
          <a:xfrm>
            <a:off x="440683" y="606554"/>
            <a:ext cx="11300035" cy="12588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575893" y="729658"/>
            <a:ext cx="11029616" cy="98833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/>
          <p:nvPr/>
        </p:nvSpPr>
        <p:spPr>
          <a:xfrm>
            <a:off x="447816" y="5141973"/>
            <a:ext cx="11298199" cy="12747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title"/>
          </p:nvPr>
        </p:nvSpPr>
        <p:spPr>
          <a:xfrm>
            <a:off x="581191" y="5262296"/>
            <a:ext cx="4909444" cy="689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rgbClr val="9F276A"/>
              </a:buClr>
              <a:buFont typeface="Cabin"/>
              <a:buNone/>
              <a:defRPr sz="2000" b="0" i="0" u="none" strike="noStrike" cap="none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body" idx="1"/>
          </p:nvPr>
        </p:nvSpPr>
        <p:spPr>
          <a:xfrm>
            <a:off x="447816" y="601200"/>
            <a:ext cx="11292840" cy="420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306000" marR="0" lvl="0" indent="-189160" algn="l" rtl="0">
              <a:spcBef>
                <a:spcPts val="40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20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073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842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56911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61311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54511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49711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57611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52811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body" idx="2"/>
          </p:nvPr>
        </p:nvSpPr>
        <p:spPr>
          <a:xfrm>
            <a:off x="5740823" y="5262296"/>
            <a:ext cx="5869986" cy="68951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2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1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2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1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20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0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69" name="Shape 69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70" name="Shape 70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rgbClr val="9F276A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rgbClr val="9F276A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581193" y="4693389"/>
            <a:ext cx="11029616" cy="56673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accent1"/>
              </a:buClr>
              <a:buFont typeface="Cabin"/>
              <a:buNone/>
              <a:defRPr sz="2400" b="0" i="0" u="none" strike="noStrike" cap="none">
                <a:solidFill>
                  <a:schemeClr val="accen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73" name="Shape 73"/>
          <p:cNvSpPr>
            <a:spLocks noGrp="1"/>
          </p:cNvSpPr>
          <p:nvPr>
            <p:ph type="pic" idx="2"/>
          </p:nvPr>
        </p:nvSpPr>
        <p:spPr>
          <a:xfrm>
            <a:off x="447816" y="599725"/>
            <a:ext cx="11290858" cy="35572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body" idx="1"/>
          </p:nvPr>
        </p:nvSpPr>
        <p:spPr>
          <a:xfrm>
            <a:off x="581191" y="5260126"/>
            <a:ext cx="11029616" cy="59867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20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10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180"/>
              </a:spcBef>
              <a:spcAft>
                <a:spcPts val="60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77" name="Shape 77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54089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581191" y="705124"/>
            <a:ext cx="11029616" cy="11895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Font typeface="Cabin"/>
              <a:buNone/>
              <a:defRPr sz="2800" b="0" i="0" u="none" strike="noStrike" cap="none">
                <a:solidFill>
                  <a:schemeClr val="lt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L="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L="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L="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L="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L="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L="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L="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581191" y="2336002"/>
            <a:ext cx="11029616" cy="35227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306000" marR="0" lvl="0" indent="-200844" algn="l" rtl="0">
              <a:spcBef>
                <a:spcPts val="360"/>
              </a:spcBef>
              <a:spcAft>
                <a:spcPts val="600"/>
              </a:spcAft>
              <a:buClr>
                <a:schemeClr val="accent2"/>
              </a:buClr>
              <a:buSzPct val="91999"/>
              <a:buFont typeface="Noto Sans Symbols"/>
              <a:buChar char="◼"/>
              <a:defRPr sz="18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30000" marR="0" lvl="1" indent="-219028" algn="l" rtl="0">
              <a:spcBef>
                <a:spcPts val="32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00000" marR="0" lvl="2" indent="-195912" algn="l" rtl="0">
              <a:spcBef>
                <a:spcPts val="28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4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242000" marR="0" lvl="3" indent="-1685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602000" marR="0" lvl="4" indent="-172996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1899999" marR="0" lvl="5" indent="-1661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200000" marR="0" lvl="6" indent="-1613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2500000" marR="0" lvl="7" indent="-1692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2800000" marR="0" lvl="8" indent="-164495" algn="l" rtl="0">
              <a:spcBef>
                <a:spcPts val="24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dt" idx="10"/>
          </p:nvPr>
        </p:nvSpPr>
        <p:spPr>
          <a:xfrm>
            <a:off x="7605950" y="5956137"/>
            <a:ext cx="2844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9" name="Shape 9"/>
          <p:cNvSpPr txBox="1">
            <a:spLocks noGrp="1"/>
          </p:cNvSpPr>
          <p:nvPr>
            <p:ph type="ftr" idx="11"/>
          </p:nvPr>
        </p:nvSpPr>
        <p:spPr>
          <a:xfrm>
            <a:off x="581191" y="5951810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ldNum" idx="12"/>
          </p:nvPr>
        </p:nvSpPr>
        <p:spPr>
          <a:xfrm>
            <a:off x="10558300" y="5956137"/>
            <a:ext cx="105250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accent2"/>
                </a:solidFill>
                <a:latin typeface="Cabin"/>
                <a:ea typeface="Cabin"/>
                <a:cs typeface="Cabin"/>
                <a:sym typeface="Cabin"/>
              </a:rPr>
              <a:t>‹#›</a:t>
            </a:fld>
            <a:endParaRPr lang="en-US" sz="900" b="0" i="0" u="none" strike="noStrike" cap="none">
              <a:solidFill>
                <a:schemeClr val="accent2"/>
              </a:solidFill>
              <a:latin typeface="Cabin"/>
              <a:ea typeface="Cabin"/>
              <a:cs typeface="Cabin"/>
              <a:sym typeface="Cabin"/>
            </a:endParaRPr>
          </a:p>
        </p:txBody>
      </p:sp>
      <p:sp>
        <p:nvSpPr>
          <p:cNvPr id="11" name="Shape 11"/>
          <p:cNvSpPr/>
          <p:nvPr/>
        </p:nvSpPr>
        <p:spPr>
          <a:xfrm>
            <a:off x="446533" y="457200"/>
            <a:ext cx="3703319" cy="949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" name="Shape 12"/>
          <p:cNvSpPr/>
          <p:nvPr/>
        </p:nvSpPr>
        <p:spPr>
          <a:xfrm>
            <a:off x="8042146" y="453643"/>
            <a:ext cx="3703319" cy="985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3" name="Shape 13"/>
          <p:cNvSpPr/>
          <p:nvPr/>
        </p:nvSpPr>
        <p:spPr>
          <a:xfrm>
            <a:off x="4241830" y="457200"/>
            <a:ext cx="3703319" cy="91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tm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m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m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Shape 96"/>
          <p:cNvSpPr txBox="1">
            <a:spLocks noGrp="1"/>
          </p:cNvSpPr>
          <p:nvPr>
            <p:ph type="ctrTitle"/>
          </p:nvPr>
        </p:nvSpPr>
        <p:spPr>
          <a:xfrm>
            <a:off x="581187" y="751489"/>
            <a:ext cx="10993549" cy="193792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br>
              <a:rPr lang="en-US" sz="6000" dirty="0"/>
            </a:br>
            <a:r>
              <a:rPr lang="en-US" sz="4800" dirty="0"/>
              <a:t>                   K-means clustering</a:t>
            </a:r>
            <a:br>
              <a:rPr lang="en-US" sz="4800" dirty="0"/>
            </a:br>
            <a:r>
              <a:rPr lang="en-US" sz="4800" dirty="0"/>
              <a:t>          (Equally Weighted Portfolio)</a:t>
            </a:r>
          </a:p>
        </p:txBody>
      </p:sp>
      <p:sp>
        <p:nvSpPr>
          <p:cNvPr id="97" name="Shape 97"/>
          <p:cNvSpPr txBox="1">
            <a:spLocks noGrp="1"/>
          </p:cNvSpPr>
          <p:nvPr>
            <p:ph type="subTitle" idx="1"/>
          </p:nvPr>
        </p:nvSpPr>
        <p:spPr>
          <a:xfrm>
            <a:off x="581191" y="3266408"/>
            <a:ext cx="10993545" cy="295509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 algn="r" rtl="0">
              <a:spcBef>
                <a:spcPts val="116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Noto Sans Symbols"/>
              <a:buNone/>
            </a:pPr>
            <a:endParaRPr lang="en-US" sz="2800" dirty="0">
              <a:solidFill>
                <a:schemeClr val="lt1"/>
              </a:solidFill>
            </a:endParaRPr>
          </a:p>
          <a:p>
            <a:pPr lvl="0" algn="r" rtl="0">
              <a:spcBef>
                <a:spcPts val="116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Noto Sans Symbols"/>
              <a:buNone/>
            </a:pPr>
            <a:endParaRPr lang="en-US" sz="2800" dirty="0">
              <a:solidFill>
                <a:schemeClr val="lt1"/>
              </a:solidFill>
            </a:endParaRPr>
          </a:p>
          <a:p>
            <a:pPr lvl="0" algn="r" rtl="0">
              <a:spcBef>
                <a:spcPts val="116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Noto Sans Symbols"/>
              <a:buNone/>
            </a:pPr>
            <a:r>
              <a:rPr lang="en-US" sz="2800" dirty="0">
                <a:solidFill>
                  <a:schemeClr val="lt1"/>
                </a:solidFill>
              </a:rPr>
              <a:t>Presented by :- </a:t>
            </a:r>
          </a:p>
          <a:p>
            <a:pPr lvl="0" algn="r" rtl="0">
              <a:spcBef>
                <a:spcPts val="116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Noto Sans Symbols"/>
              <a:buNone/>
            </a:pPr>
            <a:r>
              <a:rPr lang="en-US" sz="2800" dirty="0">
                <a:solidFill>
                  <a:schemeClr val="lt1"/>
                </a:solidFill>
              </a:rPr>
              <a:t>Garvit Kudesia</a:t>
            </a:r>
          </a:p>
          <a:p>
            <a:pPr lvl="0" algn="r" rtl="0">
              <a:spcBef>
                <a:spcPts val="116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Noto Sans Symbols"/>
              <a:buNone/>
            </a:pPr>
            <a:r>
              <a:rPr lang="en-US" sz="2800" dirty="0">
                <a:solidFill>
                  <a:schemeClr val="lt1"/>
                </a:solidFill>
              </a:rPr>
              <a:t>Harsh Doshi</a:t>
            </a:r>
          </a:p>
        </p:txBody>
      </p:sp>
      <p:pic>
        <p:nvPicPr>
          <p:cNvPr id="98" name="Shape 9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68400" y="3708400"/>
            <a:ext cx="4000500" cy="1714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ED9DA-2F2F-4446-B6BC-1502EE90B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Ratios on Bloomberg (Financial Analysis)</a:t>
            </a:r>
            <a:br>
              <a:rPr lang="en-US" dirty="0"/>
            </a:br>
            <a:r>
              <a:rPr lang="en-US" dirty="0"/>
              <a:t>Return on Assets (Profitability) &amp; Asset Turnover (DuPont Analysi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3158-AABC-4188-A0C2-55EF0FC5B2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81050"/>
            <a:ext cx="11286309" cy="4794069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F49E4-A02E-4C37-B6E2-2649CB4861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491" y="1881051"/>
            <a:ext cx="11295018" cy="479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804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8808B-C92C-4E10-98B6-62334E87C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ized Templates on Bloomberg (Financial Analysis)</a:t>
            </a:r>
            <a:br>
              <a:rPr lang="en-US" dirty="0"/>
            </a:br>
            <a:r>
              <a:rPr lang="en-US" dirty="0"/>
              <a:t>Return on Assets (Profitability) &amp; Asset Turnover (DuPont Analysi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187C62-AAB8-4DAC-8A1E-20A0469C5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15738"/>
            <a:ext cx="11273246" cy="4859382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1CDB82-A090-4262-9F11-5A19CEDB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815738"/>
            <a:ext cx="11273246" cy="4860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395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 txBox="1">
            <a:spLocks noGrp="1"/>
          </p:cNvSpPr>
          <p:nvPr>
            <p:ph type="title"/>
          </p:nvPr>
        </p:nvSpPr>
        <p:spPr>
          <a:xfrm>
            <a:off x="581191" y="688181"/>
            <a:ext cx="11029500" cy="1013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/>
          <a:p>
            <a:r>
              <a:rPr lang="en-US" dirty="0"/>
              <a:t>Stress Testing during Q4 2007 (Leverage used 2.0 on </a:t>
            </a:r>
            <a:r>
              <a:rPr lang="en-US" dirty="0" err="1"/>
              <a:t>Quantopian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Based on signals generated by Stochastic Oscillat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2CC6DC-3D92-484F-B308-EDEC5DA4E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7131" y="1894113"/>
            <a:ext cx="6923315" cy="4963887"/>
          </a:xfrm>
          <a:prstGeom prst="rect">
            <a:avLst/>
          </a:prstGeom>
        </p:spPr>
      </p:pic>
      <p:pic>
        <p:nvPicPr>
          <p:cNvPr id="6" name="Picture 5" descr="Screen Clipping">
            <a:extLst>
              <a:ext uri="{FF2B5EF4-FFF2-40B4-BE49-F238E27FC236}">
                <a16:creationId xmlns:a16="http://schemas.microsoft.com/office/drawing/2014/main" id="{09067513-678C-4CA3-8CC9-48E346CC54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554" y="1894113"/>
            <a:ext cx="4345577" cy="4859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705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CA924-E985-48E0-B31D-8C06AABF5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esting during Q1 2017 (Leverage used 2.0 on </a:t>
            </a:r>
            <a:r>
              <a:rPr lang="en-US" dirty="0" err="1"/>
              <a:t>Quantopian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Based on signals generated by Stochastic Oscilla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AC9CCE-C296-45AC-A768-5DDBB0EE20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262" y="1907177"/>
            <a:ext cx="11260183" cy="4807131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79E7F0-F670-4DC0-8BD8-7D0F2C41B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0823" y="1907176"/>
            <a:ext cx="6779622" cy="4807131"/>
          </a:xfrm>
          <a:prstGeom prst="rect">
            <a:avLst/>
          </a:prstGeom>
        </p:spPr>
      </p:pic>
      <p:pic>
        <p:nvPicPr>
          <p:cNvPr id="7" name="Picture 6" descr="Screen Clipping">
            <a:extLst>
              <a:ext uri="{FF2B5EF4-FFF2-40B4-BE49-F238E27FC236}">
                <a16:creationId xmlns:a16="http://schemas.microsoft.com/office/drawing/2014/main" id="{35A58121-3203-4A0D-A4AF-B2FA776CB6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555" y="1907175"/>
            <a:ext cx="4489267" cy="480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731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DA8B9-5554-4CB9-B9EB-C23C77D2A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esting during Q2 2017 (Leverage used 2.0 on </a:t>
            </a:r>
            <a:r>
              <a:rPr lang="en-US" dirty="0" err="1"/>
              <a:t>Quantopian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Based on signals generated by Stochastic Oscilla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364851-D8DE-412A-A3EC-44828DC0BD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41864"/>
            <a:ext cx="11260183" cy="5016136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966478-46A5-4977-A384-E7419A6DE7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2446" y="1841863"/>
            <a:ext cx="6862353" cy="5016137"/>
          </a:xfrm>
          <a:prstGeom prst="rect">
            <a:avLst/>
          </a:prstGeom>
        </p:spPr>
      </p:pic>
      <p:pic>
        <p:nvPicPr>
          <p:cNvPr id="11" name="Picture 10" descr="Screen Clipping">
            <a:extLst>
              <a:ext uri="{FF2B5EF4-FFF2-40B4-BE49-F238E27FC236}">
                <a16:creationId xmlns:a16="http://schemas.microsoft.com/office/drawing/2014/main" id="{4CE7DAD7-6086-444B-B576-6D6FA7A86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1" y="1841864"/>
            <a:ext cx="4397830" cy="501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13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nd">
  <a:themeElements>
    <a:clrScheme name="Dividend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4D1434"/>
      </a:accent1>
      <a:accent2>
        <a:srgbClr val="903163"/>
      </a:accent2>
      <a:accent3>
        <a:srgbClr val="B2324B"/>
      </a:accent3>
      <a:accent4>
        <a:srgbClr val="969FA7"/>
      </a:accent4>
      <a:accent5>
        <a:srgbClr val="66B1CE"/>
      </a:accent5>
      <a:accent6>
        <a:srgbClr val="40619D"/>
      </a:accent6>
      <a:hlink>
        <a:srgbClr val="828282"/>
      </a:hlink>
      <a:folHlink>
        <a:srgbClr val="A5A5A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1</TotalTime>
  <Words>59</Words>
  <Application>Microsoft Office PowerPoint</Application>
  <PresentationFormat>Widescreen</PresentationFormat>
  <Paragraphs>1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bin</vt:lpstr>
      <vt:lpstr>Noto Sans Symbols</vt:lpstr>
      <vt:lpstr>Dividend</vt:lpstr>
      <vt:lpstr>think-cell Slide</vt:lpstr>
      <vt:lpstr>                    K-means clustering           (Equally Weighted Portfolio)</vt:lpstr>
      <vt:lpstr>Efficiency Ratios on Bloomberg (Financial Analysis) Return on Assets (Profitability) &amp; Asset Turnover (DuPont Analysis)</vt:lpstr>
      <vt:lpstr>Customized Templates on Bloomberg (Financial Analysis) Return on Assets (Profitability) &amp; Asset Turnover (DuPont Analysis)</vt:lpstr>
      <vt:lpstr>Stress Testing during Q4 2007 (Leverage used 2.0 on Quantopian) Based on signals generated by Stochastic Oscillator</vt:lpstr>
      <vt:lpstr>Back Testing during Q1 2017 (Leverage used 2.0 on Quantopian) Based on signals generated by Stochastic Oscillator</vt:lpstr>
      <vt:lpstr>Back Testing during Q2 2017 (Leverage used 2.0 on Quantopian) Based on signals generated by Stochastic Oscillato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stemic Risk Measure  Phase I</dc:title>
  <dc:creator>Garvit Kudesia</dc:creator>
  <cp:lastModifiedBy>Garvit Kudesia</cp:lastModifiedBy>
  <cp:revision>38</cp:revision>
  <dcterms:modified xsi:type="dcterms:W3CDTF">2017-12-02T23:38:32Z</dcterms:modified>
</cp:coreProperties>
</file>